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01547"/>
    <a:srgbClr val="AF272F"/>
    <a:srgbClr val="53565A"/>
    <a:srgbClr val="87189D"/>
    <a:srgbClr val="D50032"/>
    <a:srgbClr val="007B4B"/>
    <a:srgbClr val="DA372E"/>
    <a:srgbClr val="008950"/>
    <a:srgbClr val="80808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  <p:ext uri="{1BD7E111-0CB8-44D6-8891-C1BB2F81B7CC}">
      <p1710:readonlyRecommended xmlns:p1710="http://schemas.microsoft.com/office/powerpoint/2017/10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3792" autoAdjust="0"/>
  </p:normalViewPr>
  <p:slideViewPr>
    <p:cSldViewPr snapToGrid="0">
      <p:cViewPr varScale="1">
        <p:scale>
          <a:sx n="83" d="100"/>
          <a:sy n="83" d="100"/>
        </p:scale>
        <p:origin x="800" y="5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134EC1B70594941AAB0EE9491458F55" ma:contentTypeVersion="18" ma:contentTypeDescription="Create a new document." ma:contentTypeScope="" ma:versionID="da372f3f71285377c698632957b992f9">
  <xsd:schema xmlns:xsd="http://www.w3.org/2001/XMLSchema" xmlns:xs="http://www.w3.org/2001/XMLSchema" xmlns:p="http://schemas.microsoft.com/office/2006/metadata/properties" xmlns:ns2="63a6e35b-1a0d-4b26-8059-9d7fbfec19c3" xmlns:ns3="7f7db093-26fa-4a4d-b7ba-a7de4e106676" targetNamespace="http://schemas.microsoft.com/office/2006/metadata/properties" ma:root="true" ma:fieldsID="abcc756c7a6e7e4a55d2964c03e4c2fd" ns2:_="" ns3:_="">
    <xsd:import namespace="63a6e35b-1a0d-4b26-8059-9d7fbfec19c3"/>
    <xsd:import namespace="7f7db093-26fa-4a4d-b7ba-a7de4e106676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LengthInSeconds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a6e35b-1a0d-4b26-8059-9d7fbfec19c3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6" nillable="true" ma:displayName="Taxonomy Catch All Column" ma:hidden="true" ma:list="{951c630d-cd73-4986-91fd-ef9bb3ff8aca}" ma:internalName="TaxCatchAll" ma:showField="CatchAllData" ma:web="63a6e35b-1a0d-4b26-8059-9d7fbfec19c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f7db093-26fa-4a4d-b7ba-a7de4e10667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6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9" nillable="true" ma:displayName="Tags" ma:internalName="MediaServiceAutoTags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3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5" nillable="true" ma:taxonomy="true" ma:internalName="lcf76f155ced4ddcb4097134ff3c332f" ma:taxonomyFieldName="MediaServiceImageTags" ma:displayName="Image Tags" ma:readOnly="false" ma:fieldId="{5cf76f15-5ced-4ddc-b409-7134ff3c332f}" ma:taxonomyMulti="true" ma:sspId="087ee064-f347-41df-91ce-b1c94adcd21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7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8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3a6e35b-1a0d-4b26-8059-9d7fbfec19c3">
      <Value>17</Value>
    </TaxCatchAll>
    <lcf76f155ced4ddcb4097134ff3c332f xmlns="7f7db093-26fa-4a4d-b7ba-a7de4e106676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C3408073-DDBF-4FC6-B51F-F30654B06F09}"/>
</file>

<file path=customXml/itemProps2.xml><?xml version="1.0" encoding="utf-8"?>
<ds:datastoreItem xmlns:ds="http://schemas.openxmlformats.org/officeDocument/2006/customXml" ds:itemID="{B3EB7745-C77B-4205-928C-F7F5E98D138D}">
  <ds:schemaRefs>
    <ds:schemaRef ds:uri="48a3a529-1f19-4207-8ed6-979d0ffc11ef"/>
    <ds:schemaRef ds:uri="5ce0f2b5-5be5-4508-bce9-d7011ece0659"/>
    <ds:schemaRef ds:uri="edc24be7-85b6-48b8-bec8-bca4fac6cca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8301488-EBF5-48AA-A8FC-B5833162F170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C78FE8D2-CCF2-4805-ADC0-43DDBA98F599}"/>
</file>

<file path=docProps/app.xml><?xml version="1.0" encoding="utf-8"?>
<Properties xmlns="http://schemas.openxmlformats.org/officeDocument/2006/extended-properties" xmlns:vt="http://schemas.openxmlformats.org/officeDocument/2006/docPropsVTypes">
  <Template>Body</Template>
  <TotalTime>3</TotalTime>
  <Words>777</Words>
  <Application>Microsoft Office PowerPoint</Application>
  <PresentationFormat>On-screen Show (16:9)</PresentationFormat>
  <Paragraphs>130</Paragraphs>
  <Slides>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0" baseType="lpstr">
      <vt:lpstr>ＭＳ Ｐゴシック</vt:lpstr>
      <vt:lpstr>-apple-system</vt:lpstr>
      <vt:lpstr>Arial</vt:lpstr>
      <vt:lpstr>Arial Black</vt:lpstr>
      <vt:lpstr>Calibri</vt:lpstr>
      <vt:lpstr>VIC</vt:lpstr>
      <vt:lpstr>VIC SemiBold</vt:lpstr>
      <vt:lpstr>VIC SemiBold Italic</vt:lpstr>
      <vt:lpstr>Body</vt:lpstr>
      <vt:lpstr>Intel_Pack</vt:lpstr>
      <vt:lpstr>think-cell Slide</vt:lpstr>
      <vt:lpstr>COVID-19 update  </vt:lpstr>
      <vt:lpstr>Epidemiological Summary</vt:lpstr>
      <vt:lpstr>COVID Hospitalisations</vt:lpstr>
      <vt:lpstr>COVID Mortality</vt:lpstr>
      <vt:lpstr>Wastewater surveillance: variant trends in Victoria</vt:lpstr>
      <vt:lpstr>Treatments</vt:lpstr>
      <vt:lpstr>Vaccination</vt:lpstr>
      <vt:lpstr>New ATAGI recommendations – 29th February </vt:lpstr>
      <vt:lpstr>Other Key issues 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Eugenio Fazio (Health)</dc:creator>
  <cp:keywords/>
  <dc:description/>
  <cp:lastModifiedBy>Rachael Loomes (Health)</cp:lastModifiedBy>
  <cp:revision>3</cp:revision>
  <dcterms:created xsi:type="dcterms:W3CDTF">2021-04-15T22:44:24Z</dcterms:created>
  <dcterms:modified xsi:type="dcterms:W3CDTF">2024-02-29T05:59:37Z</dcterms:modified>
  <cp:category>Presentation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version">
    <vt:lpwstr>v5 160322021</vt:lpwstr>
  </property>
  <property fmtid="{D5CDD505-2E9C-101B-9397-08002B2CF9AE}" pid="4" name="MSIP_Label_43e64453-338c-4f93-8a4d-0039a0a41f2a_Enabled">
    <vt:lpwstr>true</vt:lpwstr>
  </property>
  <property fmtid="{D5CDD505-2E9C-101B-9397-08002B2CF9AE}" pid="5" name="MSIP_Label_43e64453-338c-4f93-8a4d-0039a0a41f2a_SetDate">
    <vt:lpwstr>2021-03-16T03:59:04Z</vt:lpwstr>
  </property>
  <property fmtid="{D5CDD505-2E9C-101B-9397-08002B2CF9AE}" pid="6" name="MSIP_Label_43e64453-338c-4f93-8a4d-0039a0a41f2a_Method">
    <vt:lpwstr>Privileged</vt:lpwstr>
  </property>
  <property fmtid="{D5CDD505-2E9C-101B-9397-08002B2CF9AE}" pid="7" name="MSIP_Label_43e64453-338c-4f93-8a4d-0039a0a41f2a_Name">
    <vt:lpwstr>43e64453-338c-4f93-8a4d-0039a0a41f2a</vt:lpwstr>
  </property>
  <property fmtid="{D5CDD505-2E9C-101B-9397-08002B2CF9AE}" pid="8" name="MSIP_Label_43e64453-338c-4f93-8a4d-0039a0a41f2a_SiteId">
    <vt:lpwstr>c0e0601f-0fac-449c-9c88-a104c4eb9f28</vt:lpwstr>
  </property>
  <property fmtid="{D5CDD505-2E9C-101B-9397-08002B2CF9AE}" pid="9" name="MSIP_Label_43e64453-338c-4f93-8a4d-0039a0a41f2a_ActionId">
    <vt:lpwstr>b5b8dfe1-4ff9-4735-999e-53666cf68136</vt:lpwstr>
  </property>
  <property fmtid="{D5CDD505-2E9C-101B-9397-08002B2CF9AE}" pid="10" name="MSIP_Label_43e64453-338c-4f93-8a4d-0039a0a41f2a_ContentBits">
    <vt:lpwstr>2</vt:lpwstr>
  </property>
  <property fmtid="{D5CDD505-2E9C-101B-9397-08002B2CF9AE}" pid="11" name="ContentTypeId">
    <vt:lpwstr>0x010100F6F09B2A9B27F54CA0FADF9CF6F58BF5</vt:lpwstr>
  </property>
  <property fmtid="{D5CDD505-2E9C-101B-9397-08002B2CF9AE}" pid="12" name="Tags">
    <vt:lpwstr>17;#Templates|74cf097d-f69e-47d4-ab23-b0e64f517102</vt:lpwstr>
  </property>
</Properties>
</file>